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01" autoAdjust="0"/>
    <p:restoredTop sz="92157" autoAdjust="0"/>
  </p:normalViewPr>
  <p:slideViewPr>
    <p:cSldViewPr snapToGrid="0">
      <p:cViewPr varScale="1">
        <p:scale>
          <a:sx n="98" d="100"/>
          <a:sy n="98" d="100"/>
        </p:scale>
        <p:origin x="972" y="90"/>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F392F94E-2B04-4541-850C-96651A971BC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2ADF06A2-B257-401E-8912-F6A845A23BA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A24ADA8C-540B-4BC4-B221-A1304D04684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2</c:v>
                </c:pt>
                <c:pt idx="1">
                  <c:v>0.31</c:v>
                </c:pt>
                <c:pt idx="2">
                  <c:v>0.36</c:v>
                </c:pt>
                <c:pt idx="3">
                  <c:v>0.1</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K$2:$K$5</c15:f>
                <c15:dlblRangeCache>
                  <c:ptCount val="4"/>
                  <c:pt idx="0">
                    <c:v>22%</c:v>
                  </c:pt>
                  <c:pt idx="1">
                    <c:v>31%</c:v>
                  </c:pt>
                  <c:pt idx="2">
                    <c:v>36%</c:v>
                  </c:pt>
                  <c:pt idx="3">
                    <c:v>10%</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9A364E3-B387-48CD-B24A-5047121D5EF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4-AE26-433D-82F1-4674F4195729}"/>
                </c:ext>
              </c:extLst>
            </c:dLbl>
            <c:dLbl>
              <c:idx val="1"/>
              <c:tx>
                <c:rich>
                  <a:bodyPr/>
                  <a:lstStyle/>
                  <a:p>
                    <a:fld id="{0973B3C5-5BF2-45CD-BE63-7E0121A2767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6891618E-3F00-4FB9-B03D-79FAC1C1337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F09979D7-E8B4-4393-8DF4-6DE2711DDDF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3</c:v>
                </c:pt>
                <c:pt idx="2">
                  <c:v>0.48</c:v>
                </c:pt>
                <c:pt idx="3">
                  <c:v>0.39</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L$2:$L$5</c15:f>
                <c15:dlblRangeCache>
                  <c:ptCount val="4"/>
                  <c:pt idx="0">
                    <c:v>-</c:v>
                  </c:pt>
                  <c:pt idx="1">
                    <c:v>13%</c:v>
                  </c:pt>
                  <c:pt idx="2">
                    <c:v>48%</c:v>
                  </c:pt>
                  <c:pt idx="3">
                    <c:v>39%</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87</c:v>
                </c:pt>
                <c:pt idx="1">
                  <c:v>0.83</c:v>
                </c:pt>
                <c:pt idx="2">
                  <c:v>0.87</c:v>
                </c:pt>
                <c:pt idx="3">
                  <c:v>0.88</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C57BA8CC-3753-4E31-852B-055F52CFA79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5392C6BD-7190-42F2-A5D3-A9642FA9C62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318E8843-6A0C-4078-835D-D27A9C877C1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13</c:v>
                </c:pt>
                <c:pt idx="1">
                  <c:v>0.17</c:v>
                </c:pt>
                <c:pt idx="2">
                  <c:v>0.13</c:v>
                </c:pt>
                <c:pt idx="3">
                  <c:v>0.1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87%</c:v>
                  </c:pt>
                  <c:pt idx="1">
                    <c:v>83%</c:v>
                  </c:pt>
                  <c:pt idx="2">
                    <c:v>87%</c:v>
                  </c:pt>
                  <c:pt idx="3">
                    <c:v>88%</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6</c:v>
                </c:pt>
                <c:pt idx="1">
                  <c:v>0</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EABC3A55-F032-4C72-9A94-84C71E7506A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B8969179-BB05-46D2-8292-F3D2E582496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210A17A3-4CE2-4ED3-8E91-39D0BA579E2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E2D4FDC7-39CE-4001-9762-9A8DC02E5F1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4000000000000001</c:v>
                </c:pt>
                <c:pt idx="1">
                  <c:v>0</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6%</c:v>
                  </c:pt>
                  <c:pt idx="1">
                    <c:v>-</c:v>
                  </c:pt>
                  <c:pt idx="2">
                    <c:v>-</c:v>
                  </c:pt>
                  <c:pt idx="3">
                    <c:v>-</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3</c:v>
                </c:pt>
                <c:pt idx="1">
                  <c:v>0.88</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640CEF03-27C8-43E5-B0EA-F881EE677C7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34809BDB-D0D7-4D0E-9D82-2C69F570C86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86B80FD7-9059-4CA7-A29A-97C4329DC1C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4541B603-3F72-4CC7-88D7-1DECDDE89DD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7</c:v>
                </c:pt>
                <c:pt idx="1">
                  <c:v>0.12</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3%</c:v>
                  </c:pt>
                  <c:pt idx="1">
                    <c:v>88%</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6</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1C1A70F3-2D00-4820-9962-B9E6E60C324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46984A9F-5104-4E0E-86A3-7605428FF0E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4000000000000001</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86%</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90%</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94</c:v>
                </c:pt>
                <c:pt idx="1">
                  <c:v>0.94</c:v>
                </c:pt>
                <c:pt idx="2">
                  <c:v>0.87</c:v>
                </c:pt>
                <c:pt idx="3">
                  <c:v>0.89</c:v>
                </c:pt>
                <c:pt idx="4">
                  <c:v>0.9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45774A81-A220-434F-A4E1-1423ABDF8BA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EF365EFA-7820-4C18-AA00-5B57FDFDA0A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5DBF4471-41E9-40FA-8270-054787D8860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CD83F035-1BE7-42F3-9E47-48F95DA5983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06</c:v>
                </c:pt>
                <c:pt idx="1">
                  <c:v>0.06</c:v>
                </c:pt>
                <c:pt idx="2">
                  <c:v>0.13</c:v>
                </c:pt>
                <c:pt idx="3">
                  <c:v>0.11</c:v>
                </c:pt>
                <c:pt idx="4">
                  <c:v>0.0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94%</c:v>
                  </c:pt>
                  <c:pt idx="1">
                    <c:v>94%</c:v>
                  </c:pt>
                  <c:pt idx="2">
                    <c:v>87%</c:v>
                  </c:pt>
                  <c:pt idx="3">
                    <c:v>89%</c:v>
                  </c:pt>
                  <c:pt idx="4">
                    <c:v>91%</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87</c:v>
                </c:pt>
                <c:pt idx="2">
                  <c:v>0.92</c:v>
                </c:pt>
                <c:pt idx="3">
                  <c:v>0.8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362EF24E-E077-4DF4-BF6C-76829359865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0DC94F40-B68B-4F28-B22C-5204C903D16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EB3C68B3-2143-4539-906F-D9898B0B251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3</c:v>
                </c:pt>
                <c:pt idx="2">
                  <c:v>0.08</c:v>
                </c:pt>
                <c:pt idx="3">
                  <c:v>0.1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c:v>
                  </c:pt>
                  <c:pt idx="1">
                    <c:v>87%</c:v>
                  </c:pt>
                  <c:pt idx="2">
                    <c:v>92%</c:v>
                  </c:pt>
                  <c:pt idx="3">
                    <c:v>89%</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c:v>
                </c:pt>
                <c:pt idx="1">
                  <c:v>0</c:v>
                </c:pt>
                <c:pt idx="2">
                  <c:v>0.93</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911F90CC-478E-4CC6-B5E1-92CD38D8C66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9D5964F0-FFA8-4C4E-AD62-CA2A6C7A46C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17AF50D8-7CED-4A40-B9FF-31AE97CFC96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FEF2B132-0746-49A5-B315-03D9490DD1D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c:v>
                </c:pt>
                <c:pt idx="1">
                  <c:v>0</c:v>
                </c:pt>
                <c:pt idx="2">
                  <c:v>7.0000000000000007E-2</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90%</c:v>
                  </c:pt>
                  <c:pt idx="1">
                    <c:v>-</c:v>
                  </c:pt>
                  <c:pt idx="2">
                    <c:v>93%</c:v>
                  </c:pt>
                  <c:pt idx="3">
                    <c:v>-</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7</c:v>
                </c:pt>
                <c:pt idx="1">
                  <c:v>0.92</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A60B837F-6D64-45E8-B9D8-8E99879E290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0554E8A5-A2AC-49C1-B297-4C6BFBD3125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8CB1AFB0-4350-4BF8-A8DC-AFE26F6E133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1F827C75-7478-463C-B78F-8E95DAB1B98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3</c:v>
                </c:pt>
                <c:pt idx="1">
                  <c:v>0.08</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7%</c:v>
                  </c:pt>
                  <c:pt idx="1">
                    <c:v>92%</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9</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F06508F2-0F86-4820-AA3D-0AAB0A62419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F1C32C1B-4BDC-4EF6-93FA-525C38846D3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90%</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4</c:v>
                </c:pt>
                <c:pt idx="1">
                  <c:v>88</c:v>
                </c:pt>
                <c:pt idx="2">
                  <c:v>3</c:v>
                </c:pt>
                <c:pt idx="3">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87</c:v>
                </c:pt>
                <c:pt idx="1">
                  <c:v>11</c:v>
                </c:pt>
                <c:pt idx="2">
                  <c:v>2</c:v>
                </c:pt>
                <c:pt idx="3">
                  <c:v>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r>
                      <a:rPr lang="en-US"/>
                      <a:t>45%</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0-115E-48E7-9278-D03DDCBD9794}"/>
                </c:ext>
              </c:extLst>
            </c:dLbl>
            <c:dLbl>
              <c:idx val="1"/>
              <c:tx>
                <c:rich>
                  <a:bodyPr/>
                  <a:lstStyle/>
                  <a:p>
                    <a:fld id="{C2CCE581-81D0-4E68-9F21-09AD979FF1E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fld id="{C35F710F-8FCD-41C2-BD4B-3F0B7239D04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15E-48E7-9278-D03DDCBD9794}"/>
                </c:ext>
              </c:extLst>
            </c:dLbl>
            <c:dLbl>
              <c:idx val="3"/>
              <c:tx>
                <c:rich>
                  <a:bodyPr/>
                  <a:lstStyle/>
                  <a:p>
                    <a:fld id="{CB9A03F3-593E-4DBC-A2D2-9BBF8759EF5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5E7919C6-9859-4520-A16A-02D8F80389A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E466D30F-E1D2-49D3-B4C5-74B62CA3F80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r>
                      <a:rPr lang="en-GB"/>
                      <a:t>4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45</c:v>
                </c:pt>
                <c:pt idx="1">
                  <c:v>5</c:v>
                </c:pt>
                <c:pt idx="2">
                  <c:v>2</c:v>
                </c:pt>
                <c:pt idx="3">
                  <c:v>2</c:v>
                </c:pt>
                <c:pt idx="4">
                  <c:v>3</c:v>
                </c:pt>
                <c:pt idx="5">
                  <c:v>4</c:v>
                </c:pt>
                <c:pt idx="6">
                  <c:v>46</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45%q</c:v>
                  </c:pt>
                  <c:pt idx="1">
                    <c:v>5%</c:v>
                  </c:pt>
                  <c:pt idx="2">
                    <c:v>2%</c:v>
                  </c:pt>
                  <c:pt idx="3">
                    <c:v>2%</c:v>
                  </c:pt>
                  <c:pt idx="4">
                    <c:v>3%</c:v>
                  </c:pt>
                  <c:pt idx="5">
                    <c:v>4%</c:v>
                  </c:pt>
                  <c:pt idx="6">
                    <c:v>46%p</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r>
                      <a:rPr lang="en-US"/>
                      <a:t>45%</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0-305C-4A2F-9A88-03A72AE7F3F6}"/>
                </c:ext>
              </c:extLst>
            </c:dLbl>
            <c:dLbl>
              <c:idx val="1"/>
              <c:tx>
                <c:rich>
                  <a:bodyPr/>
                  <a:lstStyle/>
                  <a:p>
                    <a:r>
                      <a:rPr lang="en-GB"/>
                      <a:t>4%</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305C-4A2F-9A88-03A72AE7F3F6}"/>
                </c:ext>
              </c:extLst>
            </c:dLbl>
            <c:dLbl>
              <c:idx val="2"/>
              <c:tx>
                <c:rich>
                  <a:bodyPr/>
                  <a:lstStyle/>
                  <a:p>
                    <a:fld id="{E3FE897C-B451-4D3C-831C-F41603F6083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fld id="{6FD237BE-D61F-498D-AB7E-F6D3E192EDA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5630F674-5C07-44FA-BB4A-89E9D2ADD3A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92DF89AE-8580-4C4D-8501-FF4432DEB00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r>
                      <a:rPr lang="en-GB"/>
                      <a:t>38%</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45</c:v>
                </c:pt>
                <c:pt idx="1">
                  <c:v>4</c:v>
                </c:pt>
                <c:pt idx="2">
                  <c:v>4</c:v>
                </c:pt>
                <c:pt idx="3">
                  <c:v>4</c:v>
                </c:pt>
                <c:pt idx="4">
                  <c:v>14</c:v>
                </c:pt>
                <c:pt idx="5">
                  <c:v>4</c:v>
                </c:pt>
                <c:pt idx="6">
                  <c:v>3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45%q</c:v>
                  </c:pt>
                  <c:pt idx="1">
                    <c:v>4%q</c:v>
                  </c:pt>
                  <c:pt idx="2">
                    <c:v>4%</c:v>
                  </c:pt>
                  <c:pt idx="3">
                    <c:v>4%</c:v>
                  </c:pt>
                  <c:pt idx="4">
                    <c:v>14%</c:v>
                  </c:pt>
                  <c:pt idx="5">
                    <c:v>4%</c:v>
                  </c:pt>
                  <c:pt idx="6">
                    <c:v>38%p</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6EF-47F1-B883-7748EC1E367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EF-47F1-B883-7748EC1E367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8F4EC3DD-CBE0-437D-8FAA-250E6C929FD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EFCE8EE3-A98F-4485-837C-030865F50EA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0</c:v>
                </c:pt>
                <c:pt idx="1">
                  <c:v>9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0%</c:v>
                  </c:pt>
                  <c:pt idx="1">
                    <c:v>90%</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2F0-4CF1-80C7-205225AB80C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2F0-4CF1-80C7-205225AB80C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5C746292-8313-499F-BA9E-988DB62D469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8%</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3-EF04-40F3-B91F-C8C4FA5B6E26}"/>
                </c:ext>
              </c:extLst>
            </c:dLbl>
            <c:dLbl>
              <c:idx val="1"/>
              <c:tx>
                <c:rich>
                  <a:bodyPr/>
                  <a:lstStyle/>
                  <a:p>
                    <a:r>
                      <a:rPr lang="en-GB"/>
                      <a:t>92%</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c:v>
                </c:pt>
                <c:pt idx="1">
                  <c:v>9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q</c:v>
                  </c:pt>
                  <c:pt idx="1">
                    <c:v>92%p</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5CF-40B3-8374-492CB86772A0}"/>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CF-40B3-8374-492CB86772A0}"/>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E9D76418-D413-42CD-A04A-547F1390535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23%</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A5CF-40B3-8374-492CB86772A0}"/>
                </c:ext>
              </c:extLst>
            </c:dLbl>
            <c:dLbl>
              <c:idx val="1"/>
              <c:tx>
                <c:rich>
                  <a:bodyPr/>
                  <a:lstStyle/>
                  <a:p>
                    <a:r>
                      <a:rPr lang="en-GB"/>
                      <a:t>77%</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3</c:v>
                </c:pt>
                <c:pt idx="1">
                  <c:v>7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23%p</c:v>
                  </c:pt>
                  <c:pt idx="1">
                    <c:v>77%q</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3F978962-DF79-4415-9BAA-7581BBAB6F3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A2C8048A-F3C7-484E-9287-21E69E95E6D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EF4C1693-FDC1-405E-9BC5-EFFF3D8C390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BC84D901-10CC-4F51-B81E-8E551B251A1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3</c:v>
                </c:pt>
                <c:pt idx="1">
                  <c:v>0.46</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53%</c:v>
                  </c:pt>
                  <c:pt idx="1">
                    <c:v>46%</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16D96DAA-F19C-45C3-846F-3474389B324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1B381D10-3022-42CE-8C32-106B01B0184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0076086E-813B-4287-82B5-929ACC0D6C2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3DE881CE-E679-4BC2-816F-CE714C3CDAD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7999999999999996</c:v>
                </c:pt>
                <c:pt idx="1">
                  <c:v>0.41</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58%</c:v>
                  </c:pt>
                  <c:pt idx="1">
                    <c:v>41%</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819-49AB-9068-B304DBA3CCB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819-49AB-9068-B304DBA3CCB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8B71BC20-D6FE-4979-A76D-EE82EC6C656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1046ECC0-8D99-41DB-9142-4C45529FBE4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0</c:v>
                </c:pt>
                <c:pt idx="1">
                  <c:v>8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20%</c:v>
                  </c:pt>
                  <c:pt idx="1">
                    <c:v>80%</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3E6-406A-BD18-9D1352DD1788}"/>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3E6-406A-BD18-9D1352DD1788}"/>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2DE25154-9261-4AEA-A544-D073D1DEC7C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C8214039-591D-4E23-9700-06A1042E98D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83E6-406A-BD18-9D1352DD1788}"/>
                </c:ext>
              </c:extLst>
            </c:dLbl>
            <c:dLbl>
              <c:idx val="1"/>
              <c:tx>
                <c:rich>
                  <a:bodyPr/>
                  <a:lstStyle/>
                  <a:p>
                    <a:fld id="{51B1929B-56C3-4D63-827F-6D677F86121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c:v>
                </c:pt>
                <c:pt idx="1">
                  <c:v>9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c:v>
                  </c:pt>
                  <c:pt idx="1">
                    <c:v>97%</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044-4A9A-8BF8-13AAE32259E6}"/>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044-4A9A-8BF8-13AAE32259E6}"/>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3698FBC1-25D7-4221-B06A-829C4D6800B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4%</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8044-4A9A-8BF8-13AAE32259E6}"/>
                </c:ext>
              </c:extLst>
            </c:dLbl>
            <c:dLbl>
              <c:idx val="1"/>
              <c:tx>
                <c:rich>
                  <a:bodyPr/>
                  <a:lstStyle/>
                  <a:p>
                    <a:r>
                      <a:rPr lang="en-GB"/>
                      <a:t>9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c:v>
                </c:pt>
                <c:pt idx="1">
                  <c:v>9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q</c:v>
                  </c:pt>
                  <c:pt idx="1">
                    <c:v>96%p</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r>
                      <a:rPr lang="en-GB"/>
                      <a:t>8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73EB-456C-B74D-581899DAC290}"/>
                </c:ext>
              </c:extLst>
            </c:dLbl>
            <c:dLbl>
              <c:idx val="1"/>
              <c:tx>
                <c:rich>
                  <a:bodyPr/>
                  <a:lstStyle/>
                  <a:p>
                    <a:r>
                      <a:rPr lang="en-GB"/>
                      <a:t>94%</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73EB-456C-B74D-581899DAC290}"/>
                </c:ext>
              </c:extLst>
            </c:dLbl>
            <c:dLbl>
              <c:idx val="2"/>
              <c:tx>
                <c:rich>
                  <a:bodyPr/>
                  <a:lstStyle/>
                  <a:p>
                    <a:r>
                      <a:rPr lang="en-GB"/>
                      <a:t>8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73EB-456C-B74D-581899DAC290}"/>
                </c:ext>
              </c:extLst>
            </c:dLbl>
            <c:dLbl>
              <c:idx val="3"/>
              <c:tx>
                <c:rich>
                  <a:bodyPr/>
                  <a:lstStyle/>
                  <a:p>
                    <a:fld id="{34773195-7522-4596-B3DB-C91B89E6298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3EB-456C-B74D-581899DAC290}"/>
                </c:ext>
              </c:extLst>
            </c:dLbl>
            <c:dLbl>
              <c:idx val="4"/>
              <c:tx>
                <c:rich>
                  <a:bodyPr/>
                  <a:lstStyle/>
                  <a:p>
                    <a:r>
                      <a:rPr lang="en-GB"/>
                      <a:t>9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73EB-456C-B74D-581899DAC290}"/>
                </c:ext>
              </c:extLst>
            </c:dLbl>
            <c:dLbl>
              <c:idx val="5"/>
              <c:tx>
                <c:rich>
                  <a:bodyPr/>
                  <a:lstStyle/>
                  <a:p>
                    <a:fld id="{DE69AE4F-E6EA-41DA-AE21-42CC3048230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EB-456C-B74D-581899DAC290}"/>
                </c:ext>
              </c:extLst>
            </c:dLbl>
            <c:dLbl>
              <c:idx val="6"/>
              <c:tx>
                <c:rich>
                  <a:bodyPr/>
                  <a:lstStyle/>
                  <a:p>
                    <a:fld id="{9D1A6408-286E-447E-8A39-6DE1AADEA3A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5</c:v>
                </c:pt>
                <c:pt idx="1">
                  <c:v>94</c:v>
                </c:pt>
                <c:pt idx="2">
                  <c:v>86</c:v>
                </c:pt>
                <c:pt idx="3">
                  <c:v>75</c:v>
                </c:pt>
                <c:pt idx="4">
                  <c:v>95</c:v>
                </c:pt>
                <c:pt idx="5">
                  <c:v>36</c:v>
                </c:pt>
                <c:pt idx="6">
                  <c:v>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85%p</c:v>
                  </c:pt>
                  <c:pt idx="1">
                    <c:v>94%p</c:v>
                  </c:pt>
                  <c:pt idx="2">
                    <c:v>86%p</c:v>
                  </c:pt>
                  <c:pt idx="3">
                    <c:v>75%</c:v>
                  </c:pt>
                  <c:pt idx="4">
                    <c:v>95%p</c:v>
                  </c:pt>
                  <c:pt idx="5">
                    <c:v>36%</c:v>
                  </c:pt>
                  <c:pt idx="6">
                    <c:v>*</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910F8107-0B15-44B1-8309-153C22073A0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E36-4621-A2A8-3ADDA83CA04C}"/>
                </c:ext>
              </c:extLst>
            </c:dLbl>
            <c:dLbl>
              <c:idx val="1"/>
              <c:tx>
                <c:rich>
                  <a:bodyPr/>
                  <a:lstStyle/>
                  <a:p>
                    <a:fld id="{95DAA2D9-AEE0-42FA-8E7E-9BA2F5D17A9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fld id="{4B6DEBC5-6592-4A25-A598-F214884B3C9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E36-4621-A2A8-3ADDA83CA04C}"/>
                </c:ext>
              </c:extLst>
            </c:dLbl>
            <c:dLbl>
              <c:idx val="3"/>
              <c:tx>
                <c:rich>
                  <a:bodyPr/>
                  <a:lstStyle/>
                  <a:p>
                    <a:r>
                      <a:rPr lang="en-GB"/>
                      <a:t>62%</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3E36-4621-A2A8-3ADDA83CA04C}"/>
                </c:ext>
              </c:extLst>
            </c:dLbl>
            <c:dLbl>
              <c:idx val="4"/>
              <c:tx>
                <c:rich>
                  <a:bodyPr/>
                  <a:lstStyle/>
                  <a:p>
                    <a:fld id="{4F231064-8F2B-484B-81BD-53A64BAD468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r>
                      <a:rPr lang="en-GB"/>
                      <a:t>34%</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E36-4621-A2A8-3ADDA83CA04C}"/>
                </c:ext>
              </c:extLst>
            </c:dLbl>
            <c:dLbl>
              <c:idx val="6"/>
              <c:tx>
                <c:rich>
                  <a:bodyPr/>
                  <a:lstStyle/>
                  <a:p>
                    <a:fld id="{8CEDE453-DA17-487F-BBEE-508816C15F3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5</c:v>
                </c:pt>
                <c:pt idx="1">
                  <c:v>92</c:v>
                </c:pt>
                <c:pt idx="2">
                  <c:v>73</c:v>
                </c:pt>
                <c:pt idx="3">
                  <c:v>62</c:v>
                </c:pt>
                <c:pt idx="4">
                  <c:v>87</c:v>
                </c:pt>
                <c:pt idx="5">
                  <c:v>34</c:v>
                </c:pt>
                <c:pt idx="6">
                  <c:v>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85%</c:v>
                  </c:pt>
                  <c:pt idx="1">
                    <c:v>92%</c:v>
                  </c:pt>
                  <c:pt idx="2">
                    <c:v>73%</c:v>
                  </c:pt>
                  <c:pt idx="3">
                    <c:v>62%q</c:v>
                  </c:pt>
                  <c:pt idx="4">
                    <c:v>87%</c:v>
                  </c:pt>
                  <c:pt idx="5">
                    <c:v>34%q</c:v>
                  </c:pt>
                  <c:pt idx="6">
                    <c:v>2%</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7</c:v>
                </c:pt>
                <c:pt idx="1">
                  <c:v>28</c:v>
                </c:pt>
                <c:pt idx="2">
                  <c:v>10</c:v>
                </c:pt>
                <c:pt idx="3">
                  <c:v>3</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5</c:v>
                </c:pt>
                <c:pt idx="1">
                  <c:v>30</c:v>
                </c:pt>
                <c:pt idx="2">
                  <c:v>11</c:v>
                </c:pt>
                <c:pt idx="3">
                  <c:v>3</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80D2255E-6383-4145-A82B-62E43CF0205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072007DA-B668-4835-B5C2-72409516FF8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9</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4</c15:f>
                <c15:dlblRangeCache>
                  <c:ptCount val="3"/>
                  <c:pt idx="0">
                    <c:v>99%</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DA980ACA-7991-490C-8103-10165E211A1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5824C170-E46E-41FD-9325-F7BB5A783F2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1</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4</c15:f>
                <c15:dlblRangeCache>
                  <c:ptCount val="3"/>
                  <c:pt idx="0">
                    <c:v>100%</c:v>
                  </c:pt>
                  <c:pt idx="1">
                    <c:v>-</c:v>
                  </c:pt>
                  <c:pt idx="2">
                    <c:v>-</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6</c:v>
                </c:pt>
                <c:pt idx="1">
                  <c:v>41</c:v>
                </c:pt>
                <c:pt idx="2">
                  <c:v>5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9</c:v>
                </c:pt>
                <c:pt idx="1">
                  <c:v>45</c:v>
                </c:pt>
                <c:pt idx="2">
                  <c:v>4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9</c:v>
                </c:pt>
                <c:pt idx="1">
                  <c:v>17</c:v>
                </c:pt>
                <c:pt idx="2">
                  <c:v>27</c:v>
                </c:pt>
                <c:pt idx="3">
                  <c:v>18</c:v>
                </c:pt>
                <c:pt idx="4">
                  <c:v>2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7</c:v>
                </c:pt>
                <c:pt idx="1">
                  <c:v>24</c:v>
                </c:pt>
                <c:pt idx="2">
                  <c:v>19</c:v>
                </c:pt>
                <c:pt idx="3">
                  <c:v>17</c:v>
                </c:pt>
                <c:pt idx="4">
                  <c:v>2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9.1999999999999998E-2</c:v>
                </c:pt>
                <c:pt idx="1">
                  <c:v>0.17199999999999999</c:v>
                </c:pt>
                <c:pt idx="2">
                  <c:v>0.27600000000000002</c:v>
                </c:pt>
                <c:pt idx="3">
                  <c:v>0.26400000000000001</c:v>
                </c:pt>
                <c:pt idx="4">
                  <c:v>0.1950000000000000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8.6999999999999994E-2</c:v>
                </c:pt>
                <c:pt idx="1">
                  <c:v>0.161</c:v>
                </c:pt>
                <c:pt idx="2">
                  <c:v>0.27700000000000002</c:v>
                </c:pt>
                <c:pt idx="3">
                  <c:v>0.27400000000000002</c:v>
                </c:pt>
                <c:pt idx="4">
                  <c:v>0.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7</c:v>
                </c:pt>
                <c:pt idx="1">
                  <c:v>9</c:v>
                </c:pt>
                <c:pt idx="2">
                  <c:v>27</c:v>
                </c:pt>
                <c:pt idx="3">
                  <c:v>20</c:v>
                </c:pt>
                <c:pt idx="4">
                  <c:v>3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0</c:v>
                </c:pt>
                <c:pt idx="1">
                  <c:v>16</c:v>
                </c:pt>
                <c:pt idx="2">
                  <c:v>21</c:v>
                </c:pt>
                <c:pt idx="3">
                  <c:v>22</c:v>
                </c:pt>
                <c:pt idx="4">
                  <c:v>3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1</c:v>
                </c:pt>
                <c:pt idx="1">
                  <c:v>21</c:v>
                </c:pt>
                <c:pt idx="2">
                  <c:v>29</c:v>
                </c:pt>
                <c:pt idx="3">
                  <c:v>21</c:v>
                </c:pt>
                <c:pt idx="4">
                  <c:v>1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7</c:v>
                </c:pt>
                <c:pt idx="1">
                  <c:v>32</c:v>
                </c:pt>
                <c:pt idx="2">
                  <c:v>18</c:v>
                </c:pt>
                <c:pt idx="3">
                  <c:v>13</c:v>
                </c:pt>
                <c:pt idx="4">
                  <c:v>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09E08C5E-38CF-4275-AC88-868F6322E10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318BC150-A12C-4569-9502-1EDD2B5BFF7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A7F0D252-8013-4B8B-BC00-3718F458C9E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29A2CA11-3256-42CF-8C6E-45ABC937304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6</c:v>
                </c:pt>
                <c:pt idx="1">
                  <c:v>0</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96%</c:v>
                  </c:pt>
                  <c:pt idx="1">
                    <c:v>-</c:v>
                  </c:pt>
                  <c:pt idx="2">
                    <c:v>-</c:v>
                  </c:pt>
                  <c:pt idx="3">
                    <c:v>-</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F4EB4A37-6729-4A73-A88F-28276013366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5943A711-64AA-4BBC-B86E-C7FA22725DC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79244DA9-F8C4-4731-813A-6CDCC4D63C3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F36D168D-2B25-4FF8-9780-54A0979616E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92</c:v>
                </c:pt>
                <c:pt idx="1">
                  <c:v>0</c:v>
                </c:pt>
                <c:pt idx="2">
                  <c:v>0.04</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92%</c:v>
                  </c:pt>
                  <c:pt idx="1">
                    <c:v>-</c:v>
                  </c:pt>
                  <c:pt idx="2">
                    <c:v>4%</c:v>
                  </c:pt>
                  <c:pt idx="3">
                    <c:v>-</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6</c:v>
                </c:pt>
                <c:pt idx="1">
                  <c:v>6</c:v>
                </c:pt>
                <c:pt idx="2">
                  <c:v>26</c:v>
                </c:pt>
                <c:pt idx="3">
                  <c:v>20</c:v>
                </c:pt>
                <c:pt idx="4">
                  <c:v>4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1</c:v>
                </c:pt>
                <c:pt idx="1">
                  <c:v>14</c:v>
                </c:pt>
                <c:pt idx="2">
                  <c:v>25</c:v>
                </c:pt>
                <c:pt idx="3">
                  <c:v>18</c:v>
                </c:pt>
                <c:pt idx="4">
                  <c:v>3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8</c:v>
                </c:pt>
                <c:pt idx="1">
                  <c:v>20</c:v>
                </c:pt>
                <c:pt idx="2">
                  <c:v>41</c:v>
                </c:pt>
                <c:pt idx="3">
                  <c:v>3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18</c:v>
                </c:pt>
                <c:pt idx="1">
                  <c:v>37</c:v>
                </c:pt>
                <c:pt idx="2">
                  <c:v>38</c:v>
                </c:pt>
                <c:pt idx="3">
                  <c:v>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5</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9</c:v>
                </c:pt>
                <c:pt idx="1">
                  <c:v>32</c:v>
                </c:pt>
                <c:pt idx="2">
                  <c:v>12</c:v>
                </c:pt>
                <c:pt idx="3">
                  <c:v>2</c:v>
                </c:pt>
                <c:pt idx="4">
                  <c:v>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2</c:v>
                </c:pt>
                <c:pt idx="1">
                  <c:v>28</c:v>
                </c:pt>
                <c:pt idx="2">
                  <c:v>4</c:v>
                </c:pt>
                <c:pt idx="3">
                  <c:v>4</c:v>
                </c:pt>
                <c:pt idx="4">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6</c:v>
                </c:pt>
                <c:pt idx="1">
                  <c:v>48</c:v>
                </c:pt>
                <c:pt idx="2">
                  <c:v>13</c:v>
                </c:pt>
                <c:pt idx="3">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2</c:v>
                </c:pt>
                <c:pt idx="1">
                  <c:v>51</c:v>
                </c:pt>
                <c:pt idx="2">
                  <c:v>13</c:v>
                </c:pt>
                <c:pt idx="3">
                  <c:v>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4</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863-4EF3-8628-514246B9651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863-4EF3-8628-514246B9651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8F88D655-801E-4BB2-8522-832F3E9AC60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BFCBE01D-3691-4F0C-946B-8AF9FB8B81C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9</c:v>
                </c:pt>
                <c:pt idx="1">
                  <c:v>2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9%</c:v>
                  </c:pt>
                  <c:pt idx="1">
                    <c:v>21%</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5E-4713-BCB6-17010B44716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E5E-4713-BCB6-17010B44716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84F58B39-5880-4D64-AAC2-C17752BA9DE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86%</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4E5E-4713-BCB6-17010B447163}"/>
                </c:ext>
              </c:extLst>
            </c:dLbl>
            <c:dLbl>
              <c:idx val="1"/>
              <c:tx>
                <c:rich>
                  <a:bodyPr/>
                  <a:lstStyle/>
                  <a:p>
                    <a:r>
                      <a:rPr lang="en-GB"/>
                      <a:t>14%</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6</c:v>
                </c:pt>
                <c:pt idx="1">
                  <c:v>1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6%p</c:v>
                  </c:pt>
                  <c:pt idx="1">
                    <c:v>14%q</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FB6-49AC-A845-714BC7862DE1}"/>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FB6-49AC-A845-714BC7862DE1}"/>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EBBF6156-5DB8-4BF3-8826-C6527C89B83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DD3A12DA-1794-430B-A323-B4043FAC5C6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4</c:v>
                </c:pt>
                <c:pt idx="1">
                  <c:v>3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4%</c:v>
                  </c:pt>
                  <c:pt idx="1">
                    <c:v>36%</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1B2-481E-8927-CB542BF48EB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1B2-481E-8927-CB542BF48EB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31FD5F6D-2FC8-4352-93BE-84AE8E87904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7686E00-B8AF-4CB8-ACBF-05F9FE03DE7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1B2-481E-8927-CB542BF48EB3}"/>
                </c:ext>
              </c:extLst>
            </c:dLbl>
            <c:dLbl>
              <c:idx val="1"/>
              <c:tx>
                <c:rich>
                  <a:bodyPr/>
                  <a:lstStyle/>
                  <a:p>
                    <a:fld id="{92620BA9-C242-4C7F-89EE-74B2713932C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8</c:v>
                </c:pt>
                <c:pt idx="1">
                  <c:v>2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8%</c:v>
                  </c:pt>
                  <c:pt idx="1">
                    <c:v>22%</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D0-417A-9AE1-625975EDEF4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BD0-417A-9AE1-625975EDEF4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DD459F3C-2DB3-472E-9E05-E3EA43C7DE9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EDA39F9C-8B1C-4762-94E5-2C4A9FC058B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5</c:v>
                </c:pt>
                <c:pt idx="1">
                  <c:v>6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5%</c:v>
                  </c:pt>
                  <c:pt idx="1">
                    <c:v>65%</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31F-4356-B084-576816CB2DE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31F-4356-B084-576816CB2DE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4F8175E0-0B0D-4819-A350-9CBEB6B86EB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48%</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331F-4356-B084-576816CB2DE3}"/>
                </c:ext>
              </c:extLst>
            </c:dLbl>
            <c:dLbl>
              <c:idx val="1"/>
              <c:tx>
                <c:rich>
                  <a:bodyPr/>
                  <a:lstStyle/>
                  <a:p>
                    <a:r>
                      <a:rPr lang="en-GB"/>
                      <a:t>52%</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8</c:v>
                </c:pt>
                <c:pt idx="1">
                  <c:v>5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8%p</c:v>
                  </c:pt>
                  <c:pt idx="1">
                    <c:v>52%q</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E81-4665-B9F1-19FE31D5928C}"/>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E81-4665-B9F1-19FE31D5928C}"/>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3BB9DAE3-0DA2-46F8-AD96-5E995B36406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8D2A01D0-6022-44A6-9C34-B90DECBB86F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5</c:v>
                </c:pt>
                <c:pt idx="1">
                  <c:v>5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5%</c:v>
                  </c:pt>
                  <c:pt idx="1">
                    <c:v>55%</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DD-430C-8FF3-E4B09270E25F}"/>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DD-430C-8FF3-E4B09270E25F}"/>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3221D3A0-1A49-4906-9FE2-840BAF94C6E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283542A1-4091-4B11-B71F-35F57ACA601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9</c:v>
                </c:pt>
                <c:pt idx="1">
                  <c:v>7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29%</c:v>
                  </c:pt>
                  <c:pt idx="1">
                    <c:v>71%</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F3E-4C45-9DAC-B2929C4B2C2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F3E-4C45-9DAC-B2929C4B2C2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0BEBDFCA-55DF-4F07-BCD8-93CD1CBD507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EA316BC-1738-4EE6-AB7C-7DF676328EEF}"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F3E-4C45-9DAC-B2929C4B2C23}"/>
                </c:ext>
              </c:extLst>
            </c:dLbl>
            <c:dLbl>
              <c:idx val="1"/>
              <c:tx>
                <c:rich>
                  <a:bodyPr/>
                  <a:lstStyle/>
                  <a:p>
                    <a:fld id="{F8AF5298-10CD-4E40-86B7-55478031CFF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9</c:v>
                </c:pt>
                <c:pt idx="1">
                  <c:v>2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9%</c:v>
                  </c:pt>
                  <c:pt idx="1">
                    <c:v>21%</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F81-41A0-AA5F-E21FFFB8EB7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F81-41A0-AA5F-E21FFFB8EB7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8F0C10D6-D5F3-48D6-BD3C-B8CDC1ACDBF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47780E8-A37F-4F60-A466-6CCAECCBB95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5F81-41A0-AA5F-E21FFFB8EB7E}"/>
                </c:ext>
              </c:extLst>
            </c:dLbl>
            <c:dLbl>
              <c:idx val="1"/>
              <c:tx>
                <c:rich>
                  <a:bodyPr/>
                  <a:lstStyle/>
                  <a:p>
                    <a:fld id="{3AE5EBCA-1D39-467C-9E98-6803E064393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9</c:v>
                </c:pt>
                <c:pt idx="1">
                  <c:v>2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9%</c:v>
                  </c:pt>
                  <c:pt idx="1">
                    <c:v>21%</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532-49D4-9643-2B7F1FC6412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532-49D4-9643-2B7F1FC6412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BFC608F0-4A6B-4E1C-8FF0-791E28C847C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6C9D4DEB-4C7E-4DD8-B050-2E674CD77FD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532-49D4-9643-2B7F1FC6412B}"/>
                </c:ext>
              </c:extLst>
            </c:dLbl>
            <c:dLbl>
              <c:idx val="1"/>
              <c:tx>
                <c:rich>
                  <a:bodyPr/>
                  <a:lstStyle/>
                  <a:p>
                    <a:fld id="{CB5ABC77-89EB-4962-B581-B42F6F0281D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4</c:v>
                </c:pt>
                <c:pt idx="1">
                  <c:v>3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4%</c:v>
                  </c:pt>
                  <c:pt idx="1">
                    <c:v>36%</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6-4EA4-9136-CE48FDDBE16D}"/>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C56-4EA4-9136-CE48FDDBE16D}"/>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D114AAFF-73A7-4B2A-A558-F944263B9E5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55%</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3C56-4EA4-9136-CE48FDDBE16D}"/>
                </c:ext>
              </c:extLst>
            </c:dLbl>
            <c:dLbl>
              <c:idx val="1"/>
              <c:tx>
                <c:rich>
                  <a:bodyPr/>
                  <a:lstStyle/>
                  <a:p>
                    <a:r>
                      <a:rPr lang="en-GB"/>
                      <a:t>45%</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5</c:v>
                </c:pt>
                <c:pt idx="1">
                  <c:v>4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55%p</c:v>
                  </c:pt>
                  <c:pt idx="1">
                    <c:v>45%q</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011-40D3-80BA-F4CA421B82A7}"/>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011-40D3-80BA-F4CA421B82A7}"/>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9F671C97-AF6C-4A9F-B944-6719BBE295D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F734E6C-4684-4623-9EDD-871FEAB0A86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011-40D3-80BA-F4CA421B82A7}"/>
                </c:ext>
              </c:extLst>
            </c:dLbl>
            <c:dLbl>
              <c:idx val="1"/>
              <c:tx>
                <c:rich>
                  <a:bodyPr/>
                  <a:lstStyle/>
                  <a:p>
                    <a:fld id="{52E9B399-B641-4ECE-84D0-CD1D246B7FC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1</c:v>
                </c:pt>
                <c:pt idx="1">
                  <c:v>2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1%</c:v>
                  </c:pt>
                  <c:pt idx="1">
                    <c:v>29%</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A96-46F4-8DED-A8EE18A7949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A96-46F4-8DED-A8EE18A7949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A35EAEA0-712C-481F-B9D9-910AC7F8D03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A47CFED8-CE7D-44B0-97E3-2CEFA2858E5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7</c:v>
                </c:pt>
                <c:pt idx="1">
                  <c:v>2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7%</c:v>
                  </c:pt>
                  <c:pt idx="1">
                    <c:v>23%</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8</c:v>
                </c:pt>
                <c:pt idx="1">
                  <c:v>34</c:v>
                </c:pt>
                <c:pt idx="2">
                  <c:v>1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39</c:v>
                </c:pt>
                <c:pt idx="1">
                  <c:v>48</c:v>
                </c:pt>
                <c:pt idx="2">
                  <c:v>1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88B8DCF7-EF35-4452-B30B-87857EAC346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r>
                      <a:rPr lang="en-GB"/>
                      <a:t>57%</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7519-4C1F-9643-9A55D10271AC}"/>
                </c:ext>
              </c:extLst>
            </c:dLbl>
            <c:dLbl>
              <c:idx val="3"/>
              <c:tx>
                <c:rich>
                  <a:bodyPr/>
                  <a:lstStyle/>
                  <a:p>
                    <a:fld id="{699BC8A7-9FCE-4247-A585-5F76AD571BB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D299F888-FB31-4415-98B5-5D512EE2708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r>
                      <a:rPr lang="en-GB"/>
                      <a:t>9%</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7519-4C1F-9643-9A55D10271AC}"/>
                </c:ext>
              </c:extLst>
            </c:dLbl>
            <c:dLbl>
              <c:idx val="6"/>
              <c:tx>
                <c:rich>
                  <a:bodyPr/>
                  <a:lstStyle/>
                  <a:p>
                    <a:fld id="{6487368D-ED56-4610-B01C-45FFE7EDD98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63</c:v>
                </c:pt>
                <c:pt idx="1">
                  <c:v>7</c:v>
                </c:pt>
                <c:pt idx="2">
                  <c:v>57</c:v>
                </c:pt>
                <c:pt idx="3">
                  <c:v>36</c:v>
                </c:pt>
                <c:pt idx="4">
                  <c:v>16</c:v>
                </c:pt>
                <c:pt idx="5">
                  <c:v>9</c:v>
                </c:pt>
                <c:pt idx="6">
                  <c:v>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63%</c:v>
                  </c:pt>
                  <c:pt idx="1">
                    <c:v>7%</c:v>
                  </c:pt>
                  <c:pt idx="2">
                    <c:v>57%q</c:v>
                  </c:pt>
                  <c:pt idx="3">
                    <c:v>36%</c:v>
                  </c:pt>
                  <c:pt idx="4">
                    <c:v>16%</c:v>
                  </c:pt>
                  <c:pt idx="5">
                    <c:v>9%q</c:v>
                  </c:pt>
                  <c:pt idx="6">
                    <c:v>4%</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55F1607A-E0CC-4BE0-9E2A-03516055B0D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14E720E0-B9E6-41D1-8C44-C7ED9B294C7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r>
                      <a:rPr lang="en-GB"/>
                      <a:t>50%</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121A-46C7-99A3-C7EC76CE57AC}"/>
                </c:ext>
              </c:extLst>
            </c:dLbl>
            <c:dLbl>
              <c:idx val="4"/>
              <c:tx>
                <c:rich>
                  <a:bodyPr/>
                  <a:lstStyle/>
                  <a:p>
                    <a:fld id="{0B715A5B-716C-406C-B177-F6D74796044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7D907680-AA13-4EDD-A59F-5D7FFBAD785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BD21F740-31DC-4AA7-A7BA-1FEAAEAF148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25</c:v>
                </c:pt>
                <c:pt idx="1">
                  <c:v>19</c:v>
                </c:pt>
                <c:pt idx="2">
                  <c:v>31</c:v>
                </c:pt>
                <c:pt idx="3">
                  <c:v>50</c:v>
                </c:pt>
                <c:pt idx="4">
                  <c:v>8</c:v>
                </c:pt>
                <c:pt idx="5">
                  <c:v>13</c:v>
                </c:pt>
                <c:pt idx="6">
                  <c:v>13</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25%</c:v>
                  </c:pt>
                  <c:pt idx="1">
                    <c:v>19%</c:v>
                  </c:pt>
                  <c:pt idx="2">
                    <c:v>31%</c:v>
                  </c:pt>
                  <c:pt idx="3">
                    <c:v>50%p</c:v>
                  </c:pt>
                  <c:pt idx="4">
                    <c:v>8%</c:v>
                  </c:pt>
                  <c:pt idx="5">
                    <c:v>13%</c:v>
                  </c:pt>
                  <c:pt idx="6">
                    <c:v>13%</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4</c:v>
                </c:pt>
                <c:pt idx="1">
                  <c:v>40</c:v>
                </c:pt>
                <c:pt idx="2">
                  <c:v>4</c:v>
                </c:pt>
                <c:pt idx="3">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6</c:v>
                </c:pt>
                <c:pt idx="1">
                  <c:v>39</c:v>
                </c:pt>
                <c:pt idx="2">
                  <c:v>5</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5</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15</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5%</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4</c:v>
                </c:pt>
                <c:pt idx="1">
                  <c:v>0.88</c:v>
                </c:pt>
                <c:pt idx="2">
                  <c:v>0.84</c:v>
                </c:pt>
                <c:pt idx="3">
                  <c:v>0.86</c:v>
                </c:pt>
                <c:pt idx="4">
                  <c:v>0.85</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C16347D2-00C8-4258-B73B-66959EC225A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79A65D4D-9906-4725-9D2B-521161A2F5E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EB4C577D-2E3F-4640-9664-53F9225BE84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B449B4A3-738D-44DF-A2A5-9F47E90A5F3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6</c:v>
                </c:pt>
                <c:pt idx="1">
                  <c:v>0.12</c:v>
                </c:pt>
                <c:pt idx="2">
                  <c:v>0.16</c:v>
                </c:pt>
                <c:pt idx="3">
                  <c:v>0.14000000000000001</c:v>
                </c:pt>
                <c:pt idx="4">
                  <c:v>0.15</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4%</c:v>
                  </c:pt>
                  <c:pt idx="1">
                    <c:v>88%</c:v>
                  </c:pt>
                  <c:pt idx="2">
                    <c:v>84%</c:v>
                  </c:pt>
                  <c:pt idx="3">
                    <c:v>86%</c:v>
                  </c:pt>
                  <c:pt idx="4">
                    <c:v>85%</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DORSET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DORSET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DORSET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DORSET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DORSET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3100" b="0" dirty="0">
                <a:solidFill>
                  <a:prstClr val="white"/>
                </a:solidFill>
                <a:latin typeface="Arial Black" panose="020B0A04020102020204" pitchFamily="34" charset="0"/>
              </a:rPr>
              <a:t>DORSET INTEGRATED CARE SYSTEM</a:t>
            </a:r>
            <a:endParaRPr lang="en-GB" sz="31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3003271938"/>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sharing information about diabetes at the time of diagnosis
Attending an annual review ever
Having a weight and BMI check as part of their last annual review
Having a blood pressure check as part of their last annual review
Having a foot check as part of their last annual review
Having a blood test check as part of their last annual review
Participating in a course about diabete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383317084"/>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4086490309"/>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support from other people living with diabetes
Healthcare professionals providing support to monitor blood sugar levels
Healthcare professionals providing support with eating well</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143671855"/>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DORSET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230074830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307015187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87% of respondents who were marked as Type 1 in the sample selected ‘Type 1’, 11% selected ‘Type 2’, 2% selected ‘Other’ and *% selected ‘I don’t know’ ​</a:t>
            </a:r>
          </a:p>
          <a:p>
            <a:pPr marL="171450" indent="-171450">
              <a:buFont typeface="Arial" panose="020B0604020202020204" pitchFamily="34" charset="0"/>
              <a:buChar char="•"/>
              <a:defRPr/>
            </a:pPr>
            <a:r>
              <a:rPr lang="en-GB" sz="1200" dirty="0">
                <a:solidFill>
                  <a:schemeClr val="tx1"/>
                </a:solidFill>
                <a:effectLst/>
              </a:rPr>
              <a:t>88% of respondents who were marked as Type 2 in the sample selected ‘Type 2’, 4% selected ‘Type 1’, 3% selected ‘Other’ and 4%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419); Type 2, ICS (549)).</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3341817691"/>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3103431020"/>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1073299134"/>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684387401"/>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277860471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70); Type 2, National (19,941), ICS (464))</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126111618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227935928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64); Type 2, National (22,278), ICS (506))</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228642902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125118569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334); Type 2, National (21,082), ICS (479))</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299589486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317889802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418); Type 2, National (24,180), ICS (552))</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767906241"/>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3499220537"/>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3410981179"/>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3696770340"/>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313757171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407); Type 2, National (22,482), ICS (522))</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186339802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363713997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309752702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94460121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20825504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422629425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340442179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135354754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95766897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409); Type 2, National (22,670), ICS (529))</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xmlns:asvg="http://schemas.microsoft.com/office/drawing/2016/SVG/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217731277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286207610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120652854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56963688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424822759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208926108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400116971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146547054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92497143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417); Type 2, National (24,076), ICS (547))</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277997199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77541960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273325020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101432945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1399162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21207724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169482697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208910472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418); Type 2, National (24,153), ICS (550))</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117487818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1389643143"/>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234121091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381388472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422190770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131866424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352585196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38093625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172430678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417); Type 2, National (24,135), ICS (551))</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382017608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26110873"/>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311139482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291084194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291546838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20731226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132774942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3180514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273048280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16); Type 2, National (24,084), ICS (550))</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300524569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53561371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77617269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119376335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93493488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200235720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170633565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255009075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182311801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16); Type 2, National (24,070), ICS (548))</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395818827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3821990995"/>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74971675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2451843566"/>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227503837"/>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8%</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346327330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3330142300"/>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1876527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204868748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18); Type 2, National (24,260), ICS (550))</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18177950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120706226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303496624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145154355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201840942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26188476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288484253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224404075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415107796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418); Type 2, National (24,267), ICS (552))</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107994410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193248347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397881746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124282971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61185871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22391926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155788114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9894595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428862700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17); Type 2, National (24,196), ICS (549))</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137723030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298026059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74061719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418); Type 2, National (24,019), ICS (547))</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32174845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322266616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188); Type 2, National (11,860), ICS (290))</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255091841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387158570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399); Type 2, National (21,228), ICS (454))</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282216101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41605372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393); Type 2, National (20,915), ICS (448))</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94489504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85676490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368); Type 2, National (20,086), ICS (434))</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412505511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291923935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381); Type 2, National (21,890), ICS (482))</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355188351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372499309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349); Type 2, National (18,585), ICS (397))</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70882043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174379664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93987606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427417777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16231068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223214414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49345201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241826529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401); Type 2, National (22,580), ICS (519))</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258768630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237607683"/>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1053823464"/>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910169643"/>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281182229"/>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381729986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298); Type 2, National (12,350), ICS (258))</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371137577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2536308491"/>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129903550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152456303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145708753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342281550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395829619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114657354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387); Type 2, National (10,911), ICS (248))</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55443545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2555829479"/>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1786104919"/>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3305442105"/>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4227327976"/>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1824122383"/>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269533307"/>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407))</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16821283"/>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3187665771"/>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121344553"/>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4117493311"/>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1975511861"/>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2910293395"/>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525))</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DORSET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2,106</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974</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46%</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420</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54</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836</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270</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910675717"/>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2851661839"/>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192302030"/>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1321255559"/>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4074054128"/>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1825368109"/>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551057329"/>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DORSET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1009753308"/>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Describing their experience at the last annual review as good</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577836618"/>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1593648992"/>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having a conversation about what would happen next with their diabetes care at the time of diagnosis
Having a urine test as part of their last annual review
Having a smoking status review as part of their last annual review</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485944942"/>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2.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76A31D0-D410-459F-8B3A-5041DA332E8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900</TotalTime>
  <Words>5412</Words>
  <Application>Microsoft Office PowerPoint</Application>
  <PresentationFormat>Widescreen</PresentationFormat>
  <Paragraphs>818</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HelveticaNeueLT Std Lt Cn</vt:lpstr>
      <vt:lpstr>Roboto</vt:lpstr>
      <vt:lpstr>Arial (Body)</vt:lpstr>
      <vt:lpstr>Wingdings</vt:lpstr>
      <vt:lpstr>Barlow</vt:lpstr>
      <vt:lpstr>Arial Black</vt:lpstr>
      <vt:lpstr>Arial</vt:lpstr>
      <vt:lpstr>Wingdings 3</vt:lpstr>
      <vt:lpstr>Segoe UI</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Emily Fudge</cp:lastModifiedBy>
  <cp:revision>172</cp:revision>
  <cp:lastPrinted>2024-09-17T13:37:47Z</cp:lastPrinted>
  <dcterms:created xsi:type="dcterms:W3CDTF">2024-06-17T14:42:21Z</dcterms:created>
  <dcterms:modified xsi:type="dcterms:W3CDTF">2024-12-02T11:01: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